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5" r:id="rId1"/>
  </p:sldMasterIdLst>
  <p:notesMasterIdLst>
    <p:notesMasterId r:id="rId16"/>
  </p:notesMasterIdLst>
  <p:handoutMasterIdLst>
    <p:handoutMasterId r:id="rId17"/>
  </p:handoutMasterIdLst>
  <p:sldIdLst>
    <p:sldId id="256" r:id="rId2"/>
    <p:sldId id="258" r:id="rId3"/>
    <p:sldId id="275" r:id="rId4"/>
    <p:sldId id="264" r:id="rId5"/>
    <p:sldId id="265" r:id="rId6"/>
    <p:sldId id="266" r:id="rId7"/>
    <p:sldId id="267" r:id="rId8"/>
    <p:sldId id="274" r:id="rId9"/>
    <p:sldId id="268" r:id="rId10"/>
    <p:sldId id="269" r:id="rId11"/>
    <p:sldId id="270" r:id="rId12"/>
    <p:sldId id="271" r:id="rId13"/>
    <p:sldId id="272" r:id="rId14"/>
    <p:sldId id="276" r:id="rId15"/>
  </p:sldIdLst>
  <p:sldSz cx="9144000" cy="6858000" type="screen4x3"/>
  <p:notesSz cx="6858000" cy="9144000"/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162">
          <p15:clr>
            <a:srgbClr val="A4A3A4"/>
          </p15:clr>
        </p15:guide>
        <p15:guide id="2" orient="horz" pos="3412">
          <p15:clr>
            <a:srgbClr val="A4A3A4"/>
          </p15:clr>
        </p15:guide>
        <p15:guide id="3" orient="horz" pos="2264">
          <p15:clr>
            <a:srgbClr val="A4A3A4"/>
          </p15:clr>
        </p15:guide>
        <p15:guide id="4" orient="horz" pos="165">
          <p15:clr>
            <a:srgbClr val="A4A3A4"/>
          </p15:clr>
        </p15:guide>
        <p15:guide id="5" orient="horz" pos="2292">
          <p15:clr>
            <a:srgbClr val="A4A3A4"/>
          </p15:clr>
        </p15:guide>
        <p15:guide id="6" pos="756">
          <p15:clr>
            <a:srgbClr val="A4A3A4"/>
          </p15:clr>
        </p15:guide>
        <p15:guide id="7" pos="532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eu LAFAGE" initials="ML" lastIdx="1" clrIdx="0">
    <p:extLst/>
  </p:cmAuthor>
  <p:cmAuthor id="2" name="Vincent Martin" initials="VM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A00"/>
    <a:srgbClr val="BD2B0B"/>
    <a:srgbClr val="3876AF"/>
    <a:srgbClr val="133C75"/>
    <a:srgbClr val="7ABFC0"/>
    <a:srgbClr val="CAEBEA"/>
    <a:srgbClr val="55DD61"/>
    <a:srgbClr val="3AA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38B1855-1B75-4FBE-930C-398BA8C253C6}" styleName="Style à thème 2 - Accentuation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6861" autoAdjust="0"/>
    <p:restoredTop sz="86364" autoAdjust="0"/>
  </p:normalViewPr>
  <p:slideViewPr>
    <p:cSldViewPr snapToObjects="1">
      <p:cViewPr>
        <p:scale>
          <a:sx n="60" d="100"/>
          <a:sy n="60" d="100"/>
        </p:scale>
        <p:origin x="-72" y="-1140"/>
      </p:cViewPr>
      <p:guideLst>
        <p:guide orient="horz" pos="1162"/>
        <p:guide orient="horz" pos="3412"/>
        <p:guide orient="horz" pos="2264"/>
        <p:guide orient="horz" pos="165"/>
        <p:guide orient="horz" pos="2292"/>
        <p:guide pos="756"/>
        <p:guide pos="53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336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FE79C938-FA7D-452D-A8CB-8D628AB482C3}" type="datetimeFigureOut">
              <a:rPr lang="fr-FR" altLang="fr-FR"/>
              <a:pPr/>
              <a:t>08/06/2017</a:t>
            </a:fld>
            <a:endParaRPr lang="fr-FR" alt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1927B4A-8086-4C0D-B358-F214493D19A9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6132104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CCD01CFA-4AA6-4544-A106-63EA7A58E759}" type="datetimeFigureOut">
              <a:rPr lang="fr-FR" altLang="fr-FR"/>
              <a:pPr/>
              <a:t>08/06/2017</a:t>
            </a:fld>
            <a:endParaRPr lang="fr-FR" alt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5F77C4B3-80C1-46C4-8F8A-F343DB22774B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958439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2</a:t>
            </a:fld>
            <a:endParaRPr lang="it" altLang="fr-FR"/>
          </a:p>
        </p:txBody>
      </p:sp>
    </p:spTree>
    <p:extLst>
      <p:ext uri="{BB962C8B-B14F-4D97-AF65-F5344CB8AC3E}">
        <p14:creationId xmlns:p14="http://schemas.microsoft.com/office/powerpoint/2010/main" val="186060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it" sz="1200" b="1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 scopo è di arrivare al concetto di comportamento come azione osservabile, concreta, e non un'idea o un'intenzione…</a:t>
            </a:r>
          </a:p>
          <a:p>
            <a:pPr algn="l" rtl="0"/>
            <a:r>
              <a:rPr lang="it" sz="1200" b="1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 necessario, incanalare la discussione verso il confronto fra comportamento ed intenzione.</a:t>
            </a:r>
          </a:p>
          <a:p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5</a:t>
            </a:fld>
            <a:endParaRPr lang="it" altLang="fr-FR"/>
          </a:p>
        </p:txBody>
      </p:sp>
    </p:spTree>
    <p:extLst>
      <p:ext uri="{BB962C8B-B14F-4D97-AF65-F5344CB8AC3E}">
        <p14:creationId xmlns:p14="http://schemas.microsoft.com/office/powerpoint/2010/main" val="435668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" sz="12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comportamenti sicurezza non sono così facili da adottare. A volte, è necessario cambiare le proprie abitudini, apprendere, evolvere… È dunque tanto più importante riconoscerli, dargli importanza per essere vicino ai colleghi. Vi propongo di guardare insieme il modo in cui sono trattati i comportamenti buoni e cattivi all’interno di Total.</a:t>
            </a:r>
          </a:p>
          <a:p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6</a:t>
            </a:fld>
            <a:endParaRPr lang="it" altLang="fr-FR"/>
          </a:p>
        </p:txBody>
      </p:sp>
    </p:spTree>
    <p:extLst>
      <p:ext uri="{BB962C8B-B14F-4D97-AF65-F5344CB8AC3E}">
        <p14:creationId xmlns:p14="http://schemas.microsoft.com/office/powerpoint/2010/main" val="1513802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it" b="0" i="0" u="none" baseline="0"/>
              <a:t>Questi comportamenti attesi valgono anche verso i nostri contractor.</a:t>
            </a:r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9</a:t>
            </a:fld>
            <a:endParaRPr lang="it" altLang="fr-FR"/>
          </a:p>
        </p:txBody>
      </p:sp>
    </p:spTree>
    <p:extLst>
      <p:ext uri="{BB962C8B-B14F-4D97-AF65-F5344CB8AC3E}">
        <p14:creationId xmlns:p14="http://schemas.microsoft.com/office/powerpoint/2010/main" val="360139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1</a:t>
            </a:fld>
            <a:endParaRPr lang="it" altLang="fr-FR"/>
          </a:p>
        </p:txBody>
      </p:sp>
    </p:spTree>
    <p:extLst>
      <p:ext uri="{BB962C8B-B14F-4D97-AF65-F5344CB8AC3E}">
        <p14:creationId xmlns:p14="http://schemas.microsoft.com/office/powerpoint/2010/main" val="1505704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it" b="0" i="0" u="none" baseline="0"/>
              <a:t>Questo logigramma mostra la logica di analisi di una cattiva condotta per decidere se si tratta di un’inadempienza o di un errore.</a:t>
            </a:r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2</a:t>
            </a:fld>
            <a:endParaRPr lang="it" altLang="fr-FR"/>
          </a:p>
        </p:txBody>
      </p:sp>
    </p:spTree>
    <p:extLst>
      <p:ext uri="{BB962C8B-B14F-4D97-AF65-F5344CB8AC3E}">
        <p14:creationId xmlns:p14="http://schemas.microsoft.com/office/powerpoint/2010/main" val="1209195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it" b="0" i="0" u="none" baseline="0"/>
              <a:t>La stop card è certamente uno strumento essenziale nella reazione alla cattiva condotta.</a:t>
            </a:r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3</a:t>
            </a:fld>
            <a:endParaRPr lang="it" altLang="fr-FR"/>
          </a:p>
        </p:txBody>
      </p:sp>
    </p:spTree>
    <p:extLst>
      <p:ext uri="{BB962C8B-B14F-4D97-AF65-F5344CB8AC3E}">
        <p14:creationId xmlns:p14="http://schemas.microsoft.com/office/powerpoint/2010/main" val="1311893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3175" y="0"/>
            <a:ext cx="9147175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750050"/>
            <a:ext cx="9144000" cy="1079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7" name="Image 13" descr="TOTAL_bandeau_01_haut_RGB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374650"/>
            <a:ext cx="5978525" cy="84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188000" y="2106000"/>
            <a:ext cx="7276629" cy="1487487"/>
          </a:xfrm>
        </p:spPr>
        <p:txBody>
          <a:bodyPr lIns="0" r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/>
          </p:nvPr>
        </p:nvSpPr>
        <p:spPr>
          <a:xfrm>
            <a:off x="1188000" y="3639600"/>
            <a:ext cx="7276629" cy="1778000"/>
          </a:xfrm>
        </p:spPr>
        <p:txBody>
          <a:bodyPr lIns="0" rIns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2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3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5536CE5-2BC7-4F54-B7E0-8109D33A9A47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800" cy="5040311"/>
          </a:xfrm>
        </p:spPr>
        <p:txBody>
          <a:bodyPr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E53D222-3A21-41F0-A754-4195D86F7AE3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5" name="Espace réservé du pied de page 1"/>
          <p:cNvSpPr>
            <a:spLocks noGrp="1"/>
          </p:cNvSpPr>
          <p:nvPr>
            <p:ph type="ftr" sz="quarter" idx="14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928100" y="0"/>
            <a:ext cx="215900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2493952"/>
            <a:ext cx="7772400" cy="1362075"/>
          </a:xfrm>
        </p:spPr>
        <p:txBody>
          <a:bodyPr anchor="ctr"/>
          <a:lstStyle>
            <a:lvl1pPr algn="l">
              <a:defRPr sz="3200" b="1" cap="all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DFE0E69-A6A0-4514-9645-50717F5B3972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1080000" indent="-180000"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5" name="Espace réservé du pied de page 5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5D4222A-88D1-42CD-80D5-E8565A073459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95600"/>
            <a:ext cx="8218800" cy="42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855E55D9-300B-427E-9D66-B6AB9FDB4F9E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iques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72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457200" y="3510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C52DF0C-42F9-46CB-9960-E48E272C052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ann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767600"/>
            <a:ext cx="8218800" cy="424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5790CCF-2FFD-4978-840B-E0C82665C38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125538"/>
            <a:ext cx="8218488" cy="489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FB10086-099E-4035-88BE-7438193C4C7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0DB065-26C5-42A6-9691-99CA056CE2E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18488" cy="635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noProof="0" dirty="0" smtClean="0"/>
              <a:t>Cliquez et modifiez le titre</a:t>
            </a:r>
            <a:endParaRPr lang="fr-FR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411913"/>
            <a:ext cx="7254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cs typeface="Helvetica" pitchFamily="34" charset="0"/>
              </a:defRPr>
            </a:lvl1pPr>
          </a:lstStyle>
          <a:p>
            <a:fld id="{947174E9-708B-4AA3-8616-D76E6DDC57A4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7" name="Rectangle 6"/>
          <p:cNvSpPr/>
          <p:nvPr/>
        </p:nvSpPr>
        <p:spPr>
          <a:xfrm>
            <a:off x="9031288" y="0"/>
            <a:ext cx="112712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457200" y="6311900"/>
            <a:ext cx="8686800" cy="1588"/>
          </a:xfrm>
          <a:prstGeom prst="line">
            <a:avLst/>
          </a:prstGeom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>
            <a:cxnSpLocks noChangeShapeType="1"/>
          </p:cNvCxnSpPr>
          <p:nvPr/>
        </p:nvCxnSpPr>
        <p:spPr bwMode="auto">
          <a:xfrm rot="5400000">
            <a:off x="7335044" y="6595269"/>
            <a:ext cx="365125" cy="1587"/>
          </a:xfrm>
          <a:prstGeom prst="line">
            <a:avLst/>
          </a:prstGeom>
          <a:noFill/>
          <a:ln w="6350">
            <a:solidFill>
              <a:schemeClr val="tx1">
                <a:alpha val="70195"/>
              </a:schemeClr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1" name="Espace réservé du texte 3"/>
          <p:cNvSpPr>
            <a:spLocks noGrp="1"/>
          </p:cNvSpPr>
          <p:nvPr>
            <p:ph type="body" idx="1"/>
          </p:nvPr>
        </p:nvSpPr>
        <p:spPr bwMode="auto">
          <a:xfrm>
            <a:off x="457200" y="1125538"/>
            <a:ext cx="8218488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</p:txBody>
      </p:sp>
      <p:pic>
        <p:nvPicPr>
          <p:cNvPr id="1032" name="Image 10" descr="TOTAL_ADM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685088" y="6375400"/>
            <a:ext cx="1008062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space réservé du pied de page 1"/>
          <p:cNvSpPr>
            <a:spLocks noGrp="1"/>
          </p:cNvSpPr>
          <p:nvPr>
            <p:ph type="ftr" sz="quarter" idx="3"/>
          </p:nvPr>
        </p:nvSpPr>
        <p:spPr bwMode="auto">
          <a:xfrm>
            <a:off x="457200" y="6411913"/>
            <a:ext cx="5562600" cy="3651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/>
          <a:lstStyle>
            <a:lvl1pPr>
              <a:defRPr sz="1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b="1" kern="1200" cap="all">
          <a:solidFill>
            <a:srgbClr val="A90025"/>
          </a:solidFill>
          <a:latin typeface="+mj-lt"/>
          <a:ea typeface="Arial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9pPr>
    </p:titleStyle>
    <p:bodyStyle>
      <a:lvl1pPr marL="285750" indent="-2857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20000"/>
        <a:buFont typeface="Lucida Grande"/>
        <a:buChar char="●"/>
        <a:defRPr sz="2000" kern="1200">
          <a:solidFill>
            <a:schemeClr val="tx1"/>
          </a:solidFill>
          <a:latin typeface="+mn-lt"/>
          <a:ea typeface="Arial" charset="0"/>
          <a:cs typeface="Arial"/>
        </a:defRPr>
      </a:lvl1pPr>
      <a:lvl2pPr marL="447675" indent="-180975" algn="l" defTabSz="5334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Font typeface="Lucida Grande"/>
        <a:buChar char="-"/>
        <a:defRPr kern="1200">
          <a:solidFill>
            <a:schemeClr val="tx1"/>
          </a:solidFill>
          <a:latin typeface="+mn-lt"/>
          <a:ea typeface="Arial" charset="0"/>
          <a:cs typeface="Arial"/>
        </a:defRPr>
      </a:lvl2pPr>
      <a:lvl3pPr marL="806450" indent="-180975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00000"/>
        <a:buFont typeface="Lucida Grande"/>
        <a:buChar char="•"/>
        <a:defRPr sz="1600" kern="1200">
          <a:solidFill>
            <a:schemeClr val="tx1"/>
          </a:solidFill>
          <a:latin typeface="+mn-lt"/>
          <a:ea typeface="Arial" charset="0"/>
          <a:cs typeface="Arial"/>
        </a:defRPr>
      </a:lvl3pPr>
      <a:lvl4pPr marL="1076325" indent="-1714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80000"/>
        <a:buFont typeface="Lucida Grande"/>
        <a:buChar char="-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4pPr>
      <a:lvl5pPr marL="1258888" indent="-180975" algn="l" defTabSz="352425" rtl="0" eaLnBrk="0" fontAlgn="base" hangingPunct="0">
        <a:spcBef>
          <a:spcPts val="300"/>
        </a:spcBef>
        <a:spcAft>
          <a:spcPts val="300"/>
        </a:spcAft>
        <a:buClr>
          <a:srgbClr val="800000"/>
        </a:buClr>
        <a:buSzPct val="100000"/>
        <a:buFont typeface="Lucida Grande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hyperlink" Target="Materiel/Death%20in%20the%20oilfield-fr.flv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ZoneTexte 1"/>
          <p:cNvSpPr txBox="1">
            <a:spLocks noChangeArrowheads="1"/>
          </p:cNvSpPr>
          <p:nvPr/>
        </p:nvSpPr>
        <p:spPr bwMode="auto">
          <a:xfrm>
            <a:off x="3200400" y="3276600"/>
            <a:ext cx="1841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rtl="0" eaLnBrk="1" hangingPunct="1"/>
            <a:endParaRPr lang="it" alt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7450" y="2106613"/>
            <a:ext cx="7277100" cy="1487487"/>
          </a:xfrm>
        </p:spPr>
        <p:txBody>
          <a:bodyPr/>
          <a:lstStyle/>
          <a:p>
            <a:pPr algn="l" rtl="0" eaLnBrk="1" fontAlgn="auto" hangingPunct="1">
              <a:spcAft>
                <a:spcPts val="0"/>
              </a:spcAft>
              <a:defRPr/>
            </a:pPr>
            <a:r>
              <a:rPr lang="it" b="1" i="0" u="none" baseline="0">
                <a:ea typeface="+mj-ea"/>
              </a:rPr>
              <a:t>Comportamenti</a:t>
            </a:r>
            <a:r>
              <a:rPr lang="it">
                <a:ea typeface="+mj-ea"/>
              </a:rPr>
              <a:t/>
            </a:r>
            <a:br>
              <a:rPr lang="it">
                <a:ea typeface="+mj-ea"/>
              </a:rPr>
            </a:br>
            <a:r>
              <a:rPr lang="it" b="1" i="0" u="none" baseline="0">
                <a:ea typeface="+mj-ea"/>
              </a:rPr>
              <a:t> (positivi e negativi)</a:t>
            </a:r>
            <a:endParaRPr lang="it" dirty="0">
              <a:ea typeface="+mj-ea"/>
            </a:endParaRPr>
          </a:p>
        </p:txBody>
      </p:sp>
      <p:sp>
        <p:nvSpPr>
          <p:cNvPr id="14339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187450" y="3640138"/>
            <a:ext cx="7277100" cy="1778000"/>
          </a:xfrm>
        </p:spPr>
        <p:txBody>
          <a:bodyPr/>
          <a:lstStyle/>
          <a:p>
            <a:pPr algn="l" rtl="0" eaLnBrk="1" hangingPunct="1"/>
            <a:r>
              <a:rPr lang="it" b="0" i="0" u="none" baseline="0">
                <a:cs typeface="Arial" pitchFamily="34" charset="0"/>
              </a:rPr>
              <a:t>Kit di inserimento H3SE</a:t>
            </a:r>
          </a:p>
          <a:p>
            <a:pPr algn="l" rtl="0" eaLnBrk="1" hangingPunct="1"/>
            <a:r>
              <a:rPr lang="it" b="0" i="0" u="none" baseline="0">
                <a:cs typeface="Arial" pitchFamily="34" charset="0"/>
              </a:rPr>
              <a:t>Modulo TCG 4.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it" b="1" i="0" u="none" baseline="0"/>
              <a:t>Trattamento rispetto alle cattive condotte</a:t>
            </a:r>
            <a:endParaRPr lang="it" dirty="0"/>
          </a:p>
        </p:txBody>
      </p:sp>
      <p:sp>
        <p:nvSpPr>
          <p:cNvPr id="21506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268413"/>
            <a:ext cx="8218488" cy="5040312"/>
          </a:xfrm>
          <a:solidFill>
            <a:schemeClr val="bg1"/>
          </a:solidFill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i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it" b="1" i="0" u="none" baseline="0">
                <a:cs typeface="Arial" pitchFamily="34" charset="0"/>
              </a:rPr>
              <a:t>Differenza tra errore e inadempienza</a:t>
            </a:r>
          </a:p>
          <a:p>
            <a:pPr marL="0" indent="0" algn="l" rtl="0"/>
            <a:endParaRPr lang="it" altLang="fr-FR" dirty="0" smtClean="0">
              <a:cs typeface="Arial" pitchFamily="34" charset="0"/>
            </a:endParaRPr>
          </a:p>
          <a:p>
            <a:pPr marL="432000" indent="0" algn="l" rtl="0">
              <a:buFont typeface="Lucida Grande"/>
              <a:buNone/>
            </a:pPr>
            <a:r>
              <a:rPr lang="it" sz="1800" b="1" i="0" u="none" baseline="0">
                <a:cs typeface="Arial" pitchFamily="34" charset="0"/>
              </a:rPr>
              <a:t>Inadempienza: </a:t>
            </a:r>
            <a:r>
              <a:rPr lang="it" sz="1800" b="0" i="0" u="none" baseline="0">
                <a:cs typeface="Arial" pitchFamily="34" charset="0"/>
              </a:rPr>
              <a:t>carattere</a:t>
            </a:r>
            <a:r>
              <a:rPr lang="it" sz="1800" b="1" i="0" u="none" baseline="0">
                <a:cs typeface="Arial" pitchFamily="34" charset="0"/>
              </a:rPr>
              <a:t> intenzionale</a:t>
            </a:r>
            <a:endParaRPr lang="it" altLang="fr-FR" sz="1800" dirty="0" smtClean="0">
              <a:cs typeface="Arial" pitchFamily="34" charset="0"/>
            </a:endParaRPr>
          </a:p>
          <a:p>
            <a:pPr marL="432000" indent="0" algn="l" rtl="0">
              <a:buFont typeface="Wingdings" pitchFamily="2" charset="2"/>
              <a:buChar char="Ø"/>
            </a:pPr>
            <a:r>
              <a:rPr lang="it" sz="1800" b="0" i="0" u="none" baseline="0">
                <a:cs typeface="Arial" pitchFamily="34" charset="0"/>
              </a:rPr>
              <a:t>Necessità di reagire in termini di </a:t>
            </a:r>
            <a:r>
              <a:rPr lang="it" sz="1800" b="1" i="0" u="none" baseline="0">
                <a:solidFill>
                  <a:srgbClr val="C00000"/>
                </a:solidFill>
                <a:cs typeface="Arial" pitchFamily="34" charset="0"/>
              </a:rPr>
              <a:t>sanzione adeguata</a:t>
            </a:r>
          </a:p>
          <a:p>
            <a:pPr marL="0" indent="0" algn="l" rtl="0"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  <a:p>
            <a:pPr marL="432000" indent="0" algn="l" rtl="0">
              <a:buNone/>
            </a:pPr>
            <a:r>
              <a:rPr lang="it" sz="1800" b="1" i="0" u="none" baseline="0">
                <a:cs typeface="Arial" pitchFamily="34" charset="0"/>
              </a:rPr>
              <a:t>Errore</a:t>
            </a:r>
            <a:r>
              <a:rPr lang="it" sz="1800" b="0" i="0" u="none" baseline="0">
                <a:cs typeface="Arial" pitchFamily="34" charset="0"/>
              </a:rPr>
              <a:t>: carattere </a:t>
            </a:r>
            <a:r>
              <a:rPr lang="it" sz="1800" b="1" i="0" u="none" baseline="0">
                <a:cs typeface="Arial" pitchFamily="34" charset="0"/>
              </a:rPr>
              <a:t>non intenzionale</a:t>
            </a:r>
          </a:p>
          <a:p>
            <a:pPr marL="432000" indent="0" algn="l" rtl="0">
              <a:buFont typeface="Wingdings" pitchFamily="2" charset="2"/>
              <a:buChar char="Ø"/>
            </a:pPr>
            <a:r>
              <a:rPr lang="it" sz="1800" b="0" i="0" u="none" baseline="0">
                <a:cs typeface="Arial" pitchFamily="34" charset="0"/>
              </a:rPr>
              <a:t>Necessità di </a:t>
            </a:r>
            <a:r>
              <a:rPr lang="it" sz="1800" b="1" i="0" u="none" baseline="0">
                <a:solidFill>
                  <a:srgbClr val="FFFF00"/>
                </a:solidFill>
                <a:effectLst>
                  <a:outerShdw blurRad="50800" dist="76200" dir="2700000" algn="tl" rotWithShape="0">
                    <a:prstClr val="black"/>
                  </a:outerShdw>
                </a:effectLst>
                <a:cs typeface="Arial" pitchFamily="34" charset="0"/>
              </a:rPr>
              <a:t>educare</a:t>
            </a:r>
            <a:r>
              <a:rPr lang="it" sz="1800" b="0" i="0" u="none" baseline="0">
                <a:solidFill>
                  <a:srgbClr val="FFFF00"/>
                </a:solidFill>
                <a:cs typeface="Arial" pitchFamily="34" charset="0"/>
              </a:rPr>
              <a:t> </a:t>
            </a:r>
          </a:p>
          <a:p>
            <a:pPr marL="0" indent="0" algn="l" rtl="0"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</p:txBody>
      </p:sp>
      <p:sp>
        <p:nvSpPr>
          <p:cNvPr id="21507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EA82E376-B67B-4A6F-9632-231F6692FD3F}" type="slidenum">
              <a:rPr/>
              <a:pPr/>
              <a:t>10</a:t>
            </a:fld>
            <a:endParaRPr lang="it" altLang="fr-FR"/>
          </a:p>
        </p:txBody>
      </p:sp>
      <p:sp>
        <p:nvSpPr>
          <p:cNvPr id="6" name="Cube 5"/>
          <p:cNvSpPr>
            <a:spLocks noChangeArrowheads="1"/>
          </p:cNvSpPr>
          <p:nvPr/>
        </p:nvSpPr>
        <p:spPr bwMode="auto">
          <a:xfrm rot="609520">
            <a:off x="437231" y="2520719"/>
            <a:ext cx="360363" cy="504825"/>
          </a:xfrm>
          <a:prstGeom prst="cube">
            <a:avLst>
              <a:gd name="adj" fmla="val 972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it" altLang="fr-FR">
              <a:solidFill>
                <a:srgbClr val="FFFFFF"/>
              </a:solidFill>
            </a:endParaRPr>
          </a:p>
        </p:txBody>
      </p:sp>
      <p:sp>
        <p:nvSpPr>
          <p:cNvPr id="8" name="Cube 7"/>
          <p:cNvSpPr>
            <a:spLocks noChangeArrowheads="1"/>
          </p:cNvSpPr>
          <p:nvPr/>
        </p:nvSpPr>
        <p:spPr bwMode="auto">
          <a:xfrm rot="609520">
            <a:off x="437232" y="3898331"/>
            <a:ext cx="360362" cy="504825"/>
          </a:xfrm>
          <a:prstGeom prst="cube">
            <a:avLst>
              <a:gd name="adj" fmla="val 972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it" alt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24058" y="5085184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2000" b="0" i="0" u="none" baseline="0">
                <a:solidFill>
                  <a:srgbClr val="A90025"/>
                </a:solidFill>
              </a:rPr>
              <a:t>Qualsiasi scarto deve condurre ad una reazion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10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it" b="1" i="0" u="none" baseline="0"/>
              <a:t>Cattiva condotta</a:t>
            </a:r>
            <a:endParaRPr lang="it" dirty="0"/>
          </a:p>
        </p:txBody>
      </p:sp>
      <p:sp>
        <p:nvSpPr>
          <p:cNvPr id="22530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0FED822-FB17-4D7F-A9B1-7283ECAB6D60}" type="slidenum">
              <a:rPr/>
              <a:pPr/>
              <a:t>11</a:t>
            </a:fld>
            <a:endParaRPr lang="it" altLang="fr-FR"/>
          </a:p>
        </p:txBody>
      </p:sp>
      <p:sp>
        <p:nvSpPr>
          <p:cNvPr id="22531" name="Rectangle 3"/>
          <p:cNvSpPr txBox="1">
            <a:spLocks noChangeArrowheads="1"/>
          </p:cNvSpPr>
          <p:nvPr/>
        </p:nvSpPr>
        <p:spPr bwMode="auto">
          <a:xfrm>
            <a:off x="3744913" y="548680"/>
            <a:ext cx="521970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Guidare in eccesso di velocità sul sito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Dimenticare una tappa importante di una procedura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Portare dell'alcool sul sito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Capire male un piano o una procedura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Non utilizzare i DPI in dotazione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Confondere due prodotti chimici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Guidare una macchina di cantiere senza mettere la cintura di sicurezza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Utilizzare il cellulare mentre si guida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it" b="0" i="0" u="none" baseline="0" dirty="0"/>
              <a:t>Aprire una valvola diversa da quella indicata nella procedura poiché non vi sembra essere quella giusta</a:t>
            </a:r>
          </a:p>
        </p:txBody>
      </p:sp>
      <p:sp>
        <p:nvSpPr>
          <p:cNvPr id="7" name="Rectangle 6"/>
          <p:cNvSpPr/>
          <p:nvPr/>
        </p:nvSpPr>
        <p:spPr>
          <a:xfrm rot="20532324">
            <a:off x="477948" y="2053064"/>
            <a:ext cx="2868093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lang="it" sz="3200" b="1" i="0" u="none" baseline="0">
                <a:ln w="11430"/>
                <a:gradFill>
                  <a:gsLst>
                    <a:gs pos="0">
                      <a:srgbClr val="03D4A8"/>
                    </a:gs>
                    <a:gs pos="25000">
                      <a:srgbClr val="21D6E0"/>
                    </a:gs>
                    <a:gs pos="75000">
                      <a:srgbClr val="0087E6"/>
                    </a:gs>
                    <a:gs pos="100000">
                      <a:srgbClr val="005CBF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Intenzionale?</a:t>
            </a:r>
          </a:p>
        </p:txBody>
      </p:sp>
      <p:sp>
        <p:nvSpPr>
          <p:cNvPr id="8" name="Rectangle 7"/>
          <p:cNvSpPr/>
          <p:nvPr/>
        </p:nvSpPr>
        <p:spPr>
          <a:xfrm rot="1714872">
            <a:off x="11473" y="3926940"/>
            <a:ext cx="3801042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lang="it" sz="32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Non intenzionale?</a:t>
            </a:r>
          </a:p>
        </p:txBody>
      </p:sp>
      <p:sp>
        <p:nvSpPr>
          <p:cNvPr id="9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507288" cy="635000"/>
          </a:xfrm>
        </p:spPr>
        <p:txBody>
          <a:bodyPr/>
          <a:lstStyle/>
          <a:p>
            <a:pPr algn="l" rtl="0">
              <a:defRPr/>
            </a:pPr>
            <a:r>
              <a:rPr lang="it" b="1" i="0" u="none" baseline="0" dirty="0"/>
              <a:t>Valutazione della natura della cattiva condotta</a:t>
            </a:r>
            <a:endParaRPr lang="it" dirty="0"/>
          </a:p>
        </p:txBody>
      </p:sp>
      <p:sp>
        <p:nvSpPr>
          <p:cNvPr id="23554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DFB17313-296B-4732-ADDB-D854810B3799}" type="slidenum">
              <a:rPr/>
              <a:pPr/>
              <a:t>12</a:t>
            </a:fld>
            <a:endParaRPr lang="it" alt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712" y="1052736"/>
            <a:ext cx="4726682" cy="5049275"/>
          </a:xfrm>
          <a:prstGeom prst="rect">
            <a:avLst/>
          </a:prstGeom>
        </p:spPr>
      </p:pic>
      <p:sp>
        <p:nvSpPr>
          <p:cNvPr id="6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it" b="1" i="0" u="none" baseline="0"/>
              <a:t>Reazione adeguata alla cattiva condotta</a:t>
            </a:r>
            <a:endParaRPr lang="it" dirty="0"/>
          </a:p>
        </p:txBody>
      </p:sp>
      <p:sp>
        <p:nvSpPr>
          <p:cNvPr id="2560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i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it" b="0" i="0" u="none" baseline="0">
                <a:cs typeface="Arial" pitchFamily="34" charset="0"/>
              </a:rPr>
              <a:t>In caso di cattiva condotta, è necessario </a:t>
            </a:r>
            <a:r>
              <a:rPr lang="it" b="1" i="0" u="none" baseline="0">
                <a:cs typeface="Arial" pitchFamily="34" charset="0"/>
              </a:rPr>
              <a:t>compiere ogni sforzo per evitare che la cattiva condotta si verifichi nuovamente</a:t>
            </a:r>
            <a:r>
              <a:rPr lang="it" b="0" i="0" u="none" baseline="0">
                <a:cs typeface="Arial" pitchFamily="34" charset="0"/>
              </a:rPr>
              <a:t>:</a:t>
            </a:r>
            <a:endParaRPr lang="it" altLang="fr-FR" dirty="0" smtClean="0">
              <a:cs typeface="Arial" pitchFamily="34" charset="0"/>
            </a:endParaRPr>
          </a:p>
          <a:p>
            <a:pPr algn="l" rtl="0"/>
            <a:r>
              <a:rPr lang="it" b="0" i="0" u="none" baseline="0">
                <a:cs typeface="Arial" pitchFamily="34" charset="0"/>
              </a:rPr>
              <a:t>Reagire e osare dire… utilizzando la </a:t>
            </a:r>
            <a:r>
              <a:rPr lang="it" b="1" i="0" u="none" baseline="0">
                <a:solidFill>
                  <a:srgbClr val="C00000"/>
                </a:solidFill>
                <a:cs typeface="Arial" pitchFamily="34" charset="0"/>
              </a:rPr>
              <a:t>Stop Card</a:t>
            </a:r>
            <a:r>
              <a:rPr lang="it" b="0" i="0" u="none" baseline="0">
                <a:cs typeface="Arial" pitchFamily="34" charset="0"/>
              </a:rPr>
              <a:t>.</a:t>
            </a:r>
            <a:endParaRPr lang="it" altLang="fr-FR" dirty="0" smtClean="0">
              <a:cs typeface="Arial" pitchFamily="34" charset="0"/>
            </a:endParaRPr>
          </a:p>
          <a:p>
            <a:pPr algn="l" rtl="0"/>
            <a:r>
              <a:rPr lang="it" b="0" i="0" u="none" baseline="0">
                <a:cs typeface="Arial" pitchFamily="34" charset="0"/>
              </a:rPr>
              <a:t>Segnalare l'evento</a:t>
            </a:r>
          </a:p>
          <a:p>
            <a:endParaRPr lang="it" altLang="fr-FR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it" b="0" i="0" u="none" baseline="0">
                <a:cs typeface="Arial" pitchFamily="34" charset="0"/>
              </a:rPr>
              <a:t>La reazione deve essere adeguata a:</a:t>
            </a:r>
          </a:p>
          <a:p>
            <a:pPr algn="l" rtl="0"/>
            <a:r>
              <a:rPr lang="it" b="0" i="0" u="none" baseline="0">
                <a:cs typeface="Arial" pitchFamily="34" charset="0"/>
              </a:rPr>
              <a:t>la natura della cattiva condotta</a:t>
            </a:r>
          </a:p>
          <a:p>
            <a:pPr algn="l" rtl="0"/>
            <a:r>
              <a:rPr lang="it" b="0" i="0" u="none" baseline="0">
                <a:cs typeface="Arial" pitchFamily="34" charset="0"/>
              </a:rPr>
              <a:t>la gravità potenziale delle sue conseguenze</a:t>
            </a:r>
          </a:p>
          <a:p>
            <a:pPr marL="0" indent="0" algn="l" rtl="0">
              <a:buFont typeface="Lucida Grande"/>
              <a:buNone/>
            </a:pPr>
            <a:endParaRPr lang="i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it" altLang="fr-FR" b="1" dirty="0" smtClean="0">
              <a:cs typeface="Arial" pitchFamily="34" charset="0"/>
            </a:endParaRPr>
          </a:p>
          <a:p>
            <a:pPr marL="0" indent="0" algn="l" rtl="0"/>
            <a:endParaRPr lang="it" altLang="fr-FR" dirty="0" smtClean="0">
              <a:cs typeface="Arial" pitchFamily="34" charset="0"/>
            </a:endParaRPr>
          </a:p>
        </p:txBody>
      </p:sp>
      <p:sp>
        <p:nvSpPr>
          <p:cNvPr id="2560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8DFAC1F-2B9F-43F1-825F-01048CCCC972}" type="slidenum">
              <a:rPr/>
              <a:pPr/>
              <a:t>13</a:t>
            </a:fld>
            <a:endParaRPr lang="it" altLang="fr-FR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924058" y="5229200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800" b="0" i="0" u="none" baseline="0">
                <a:solidFill>
                  <a:srgbClr val="A90025"/>
                </a:solidFill>
              </a:rPr>
              <a:t>	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</a:pPr>
            <a:r>
              <a:rPr lang="it" sz="2000" b="1" i="0" u="none" baseline="0">
                <a:solidFill>
                  <a:srgbClr val="A90025"/>
                </a:solidFill>
              </a:rPr>
              <a:t>Il diritto all'errore esiste</a:t>
            </a:r>
            <a:endParaRPr lang="it" altLang="fr-FR" sz="2000" b="1" dirty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it" b="1" i="0" u="none" baseline="0"/>
              <a:t>sintesi</a:t>
            </a:r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14</a:t>
            </a:fld>
            <a:endParaRPr lang="it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2062956" y="1108135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it" sz="2000" b="1" i="0" u="none" baseline="0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 Comportamento = azione osservabile</a:t>
            </a:r>
            <a:r>
              <a:rPr lang="it" sz="2000" b="1" i="0" u="none" baseline="0">
                <a:solidFill>
                  <a:srgbClr val="E20031"/>
                </a:solidFill>
                <a:latin typeface="Arial" charset="0"/>
                <a:ea typeface="Arial" charset="0"/>
                <a:cs typeface="Arial" charset="0"/>
                <a:sym typeface="Symbol" pitchFamily="18" charset="2"/>
              </a:rPr>
              <a:t> </a:t>
            </a:r>
            <a:r>
              <a:rPr lang="i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it" sz="2000" b="1" i="0" u="none" baseline="0">
                <a:solidFill>
                  <a:srgbClr val="A90025"/>
                </a:solidFill>
              </a:rPr>
              <a:t>intenzion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i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it" sz="2000" b="1" i="0" u="none" baseline="0">
                <a:solidFill>
                  <a:srgbClr val="A90025"/>
                </a:solidFill>
              </a:rPr>
              <a:t>opinione</a:t>
            </a:r>
            <a:endParaRPr lang="it" altLang="fr-FR" sz="2000" b="1" dirty="0">
              <a:solidFill>
                <a:srgbClr val="A90025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5" y="2403361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2000" b="1" i="0" u="none" baseline="0">
                <a:solidFill>
                  <a:srgbClr val="A90025"/>
                </a:solidFill>
              </a:rPr>
              <a:t>Conoscere le regole e applicarl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562887" y="3328660"/>
            <a:ext cx="6372000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2000" b="1" i="0" u="none" baseline="0" dirty="0">
                <a:solidFill>
                  <a:srgbClr val="A90025"/>
                </a:solidFill>
              </a:rPr>
              <a:t>Praticare la riconoscenza nel lavoro di tutti i giorni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24055" y="4253959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2000" b="0" i="0" u="none" baseline="0">
                <a:solidFill>
                  <a:srgbClr val="A90025"/>
                </a:solidFill>
              </a:rPr>
              <a:t>Qualsiasi scarto deve condurre ad una reazion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924054" y="5179258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800" b="0" i="0" u="none" baseline="0">
                <a:solidFill>
                  <a:srgbClr val="A90025"/>
                </a:solidFill>
              </a:rPr>
              <a:t>	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</a:pPr>
            <a:r>
              <a:rPr lang="it" sz="2000" b="1" i="0" u="none" baseline="0">
                <a:solidFill>
                  <a:srgbClr val="A90025"/>
                </a:solidFill>
              </a:rPr>
              <a:t>Il diritto all'errore esiste</a:t>
            </a:r>
            <a:endParaRPr lang="it" altLang="fr-FR" sz="2000" b="1" dirty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11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28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Espace réservé du numéro de diapositive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279238B1-A10D-48F3-B24F-D9C121A8AEF7}" type="slidenum">
              <a:rPr/>
              <a:pPr/>
              <a:t>2</a:t>
            </a:fld>
            <a:endParaRPr lang="it" altLang="fr-FR"/>
          </a:p>
        </p:txBody>
      </p:sp>
      <p:sp>
        <p:nvSpPr>
          <p:cNvPr id="8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fontAlgn="auto" hangingPunct="1">
              <a:spcAft>
                <a:spcPts val="0"/>
              </a:spcAft>
              <a:defRPr/>
            </a:pPr>
            <a:r>
              <a:rPr lang="it" b="1" i="0" u="none" baseline="0">
                <a:solidFill>
                  <a:schemeClr val="accent3">
                    <a:lumMod val="75000"/>
                  </a:schemeClr>
                </a:solidFill>
                <a:ea typeface="+mj-ea"/>
              </a:rPr>
              <a:t>Gli obiettivi del modulo</a:t>
            </a:r>
            <a:endParaRPr lang="it" dirty="0">
              <a:solidFill>
                <a:schemeClr val="accent3">
                  <a:lumMod val="75000"/>
                </a:schemeClr>
              </a:solidFill>
              <a:ea typeface="+mj-ea"/>
            </a:endParaRPr>
          </a:p>
        </p:txBody>
      </p:sp>
      <p:sp>
        <p:nvSpPr>
          <p:cNvPr id="15363" name="Espace réservé du contenu 4"/>
          <p:cNvSpPr>
            <a:spLocks noGrp="1"/>
          </p:cNvSpPr>
          <p:nvPr>
            <p:ph type="body" sz="quarter" idx="12"/>
          </p:nvPr>
        </p:nvSpPr>
        <p:spPr>
          <a:xfrm>
            <a:off x="457200" y="1773238"/>
            <a:ext cx="8218488" cy="2735882"/>
          </a:xfrm>
        </p:spPr>
        <p:txBody>
          <a:bodyPr/>
          <a:lstStyle/>
          <a:p>
            <a:pPr marL="0" indent="0" algn="l" rtl="0" eaLnBrk="1" hangingPunct="1">
              <a:buFont typeface="Lucida Grande"/>
              <a:buNone/>
            </a:pPr>
            <a:r>
              <a:rPr lang="it" b="1" i="0" u="none" baseline="0">
                <a:cs typeface="Arial" pitchFamily="34" charset="0"/>
              </a:rPr>
              <a:t>Al termine di questo modulo:</a:t>
            </a:r>
          </a:p>
          <a:p>
            <a:pPr marL="0" indent="0" algn="l" rtl="0" eaLnBrk="1" hangingPunct="1"/>
            <a:endParaRPr lang="it" altLang="fr-FR" dirty="0" smtClean="0">
              <a:cs typeface="Arial" pitchFamily="34" charset="0"/>
            </a:endParaRPr>
          </a:p>
          <a:p>
            <a:pPr marL="284400" indent="-284400" algn="l" rtl="0" eaLnBrk="1" hangingPunct="1"/>
            <a:r>
              <a:rPr lang="it" b="0" i="0" u="none" baseline="0">
                <a:cs typeface="Arial" pitchFamily="34" charset="0"/>
              </a:rPr>
              <a:t>Avrete capito che gli errori comportamentali possono avere conseguenze gravi (HIPO*, incidenti,…).</a:t>
            </a:r>
          </a:p>
          <a:p>
            <a:pPr marL="284400" indent="-284400" algn="l" rtl="0" eaLnBrk="1" hangingPunct="1"/>
            <a:r>
              <a:rPr lang="it" b="0" i="0" u="none" baseline="0">
                <a:cs typeface="Arial" pitchFamily="34" charset="0"/>
              </a:rPr>
              <a:t>Conoscerete il comportamento sicurezza atteso dai dipendenti Total.</a:t>
            </a:r>
          </a:p>
          <a:p>
            <a:pPr marL="284400" indent="-284400" algn="l" rtl="0" eaLnBrk="1" hangingPunct="1"/>
            <a:r>
              <a:rPr lang="it" b="0" i="0" u="none" baseline="0">
                <a:cs typeface="Arial" pitchFamily="34" charset="0"/>
              </a:rPr>
              <a:t>Sarete in grado di identificare un comportamento positivo da incoraggiare ed un comportamento negativo sul quale intervenire all’interno di Total.</a:t>
            </a:r>
          </a:p>
          <a:p>
            <a:pPr marL="0" indent="0" algn="l" rtl="0" eaLnBrk="1" hangingPunct="1"/>
            <a:endParaRPr lang="it" altLang="fr-FR" dirty="0" smtClean="0">
              <a:cs typeface="Arial" pitchFamily="34" charset="0"/>
            </a:endParaRPr>
          </a:p>
          <a:p>
            <a:pPr marL="0" indent="0" algn="l" rtl="0" eaLnBrk="1" hangingPunct="1"/>
            <a:endParaRPr lang="it" altLang="fr-FR" dirty="0" smtClean="0">
              <a:cs typeface="Arial" pitchFamily="34" charset="0"/>
            </a:endParaRPr>
          </a:p>
          <a:p>
            <a:pPr marL="0" indent="0" algn="l" rtl="0" eaLnBrk="1" hangingPunct="1"/>
            <a:endParaRPr lang="it" altLang="fr-FR" dirty="0" smtClean="0">
              <a:cs typeface="Arial" pitchFamily="34" charset="0"/>
            </a:endParaRPr>
          </a:p>
          <a:p>
            <a:pPr marL="0" indent="0" algn="l" rtl="0" eaLnBrk="1" hangingPunct="1">
              <a:buFont typeface="Lucida Grande"/>
              <a:buNone/>
            </a:pPr>
            <a:r>
              <a:rPr lang="it" sz="1600" b="0" i="1" u="none" baseline="0">
                <a:cs typeface="Arial" pitchFamily="34" charset="0"/>
              </a:rPr>
              <a:t>*HIPO = HIgh POtential incidents</a:t>
            </a:r>
          </a:p>
        </p:txBody>
      </p:sp>
      <p:sp>
        <p:nvSpPr>
          <p:cNvPr id="15364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it" b="1" i="0" u="none" baseline="0"/>
              <a:t>Video feedback</a:t>
            </a:r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3</a:t>
            </a:fld>
            <a:endParaRPr lang="it" altLang="fr-FR"/>
          </a:p>
        </p:txBody>
      </p:sp>
      <p:pic>
        <p:nvPicPr>
          <p:cNvPr id="6" name="Image 5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0669" y="1916832"/>
            <a:ext cx="4251549" cy="3168352"/>
          </a:xfrm>
          <a:prstGeom prst="rect">
            <a:avLst/>
          </a:prstGeom>
        </p:spPr>
      </p:pic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923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52CC1649-3A62-4590-9077-6808426157B9}" type="slidenum">
              <a:rPr/>
              <a:pPr/>
              <a:t>4</a:t>
            </a:fld>
            <a:endParaRPr lang="it" altLang="fr-FR"/>
          </a:p>
        </p:txBody>
      </p:sp>
      <p:sp>
        <p:nvSpPr>
          <p:cNvPr id="1638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562230"/>
            <a:ext cx="8218488" cy="4392612"/>
          </a:xfrm>
        </p:spPr>
        <p:txBody>
          <a:bodyPr/>
          <a:lstStyle/>
          <a:p>
            <a:pPr marL="0" indent="0" algn="l" rtl="0" eaLnBrk="1" hangingPunct="1">
              <a:lnSpc>
                <a:spcPct val="80000"/>
              </a:lnSpc>
              <a:buFont typeface="Lucida Grande"/>
              <a:buNone/>
            </a:pPr>
            <a:r>
              <a:rPr lang="it" b="1" i="0" u="none" baseline="0">
                <a:cs typeface="Arial" pitchFamily="34" charset="0"/>
              </a:rPr>
              <a:t>La sicurezza si basa su 3 pilastri:</a:t>
            </a:r>
          </a:p>
          <a:p>
            <a:pPr marL="0" indent="0" algn="l" rtl="0" eaLnBrk="1" hangingPunct="1">
              <a:lnSpc>
                <a:spcPct val="80000"/>
              </a:lnSpc>
              <a:buFont typeface="Lucida Grande"/>
              <a:buNone/>
            </a:pPr>
            <a:endParaRPr lang="it" altLang="fr-FR" sz="1700" dirty="0" smtClean="0">
              <a:cs typeface="Arial" pitchFamily="34" charset="0"/>
            </a:endParaRP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it" b="0" i="0" u="none" baseline="0">
                <a:cs typeface="Arial" pitchFamily="34" charset="0"/>
              </a:rPr>
              <a:t>Il modo in cui gli impianti/equipaggiamenti sono concepiti/costruiti.</a:t>
            </a: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it" b="0" i="0" u="none" baseline="0">
                <a:cs typeface="Arial" pitchFamily="34" charset="0"/>
              </a:rPr>
              <a:t>Un sistema di management (regole, procedure, responsabilità...)</a:t>
            </a: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it" b="0" i="0" u="none" baseline="0">
                <a:cs typeface="Arial" pitchFamily="34" charset="0"/>
              </a:rPr>
              <a:t>I comportamenti umani </a:t>
            </a:r>
          </a:p>
          <a:p>
            <a:pPr marL="0" indent="0" algn="l" rtl="0" eaLnBrk="1" hangingPunct="1">
              <a:lnSpc>
                <a:spcPct val="80000"/>
              </a:lnSpc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l" rtl="0" eaLnBrk="1" hangingPunct="1">
              <a:lnSpc>
                <a:spcPct val="80000"/>
              </a:lnSpc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l" rtl="0" eaLnBrk="1" hangingPunct="1">
              <a:lnSpc>
                <a:spcPct val="80000"/>
              </a:lnSpc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r>
              <a:rPr lang="it" sz="1800" b="0" i="0" u="none" baseline="0">
                <a:cs typeface="Arial" pitchFamily="34" charset="0"/>
              </a:rPr>
              <a:t>Tra il 60% e l'80% degli incidenti in postazione lavoro                 </a:t>
            </a:r>
            <a:endParaRPr lang="i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r>
              <a:rPr lang="it" sz="1800" b="0" i="0" u="none" baseline="0">
                <a:cs typeface="Arial" pitchFamily="34" charset="0"/>
              </a:rPr>
              <a:t>cause comportamentali</a:t>
            </a:r>
            <a:endParaRPr lang="it" altLang="fr-FR" sz="1800" dirty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it" altLang="fr-FR" sz="1800" dirty="0" smtClean="0">
              <a:cs typeface="Arial" pitchFamily="34" charset="0"/>
            </a:endParaRPr>
          </a:p>
        </p:txBody>
      </p:sp>
      <p:sp>
        <p:nvSpPr>
          <p:cNvPr id="8" name="Flèche vers la droite 7"/>
          <p:cNvSpPr/>
          <p:nvPr/>
        </p:nvSpPr>
        <p:spPr>
          <a:xfrm rot="5400000">
            <a:off x="4175919" y="4497643"/>
            <a:ext cx="792163" cy="557213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 hangingPunct="1"/>
            <a:endParaRPr lang="it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b="1" i="0" u="none" baseline="0">
                <a:cs typeface="Arial" pitchFamily="34" charset="0"/>
              </a:rPr>
              <a:t>I 3 pilastri della sicurezza</a:t>
            </a: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816" y="2708920"/>
            <a:ext cx="2629672" cy="202337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hangingPunct="1">
              <a:defRPr/>
            </a:pPr>
            <a:r>
              <a:rPr lang="it" b="1" i="0" u="none" baseline="0"/>
              <a:t>Definizione del comportamento</a:t>
            </a:r>
            <a:endParaRPr lang="it" dirty="0"/>
          </a:p>
        </p:txBody>
      </p:sp>
      <p:sp>
        <p:nvSpPr>
          <p:cNvPr id="17410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323850" y="981075"/>
            <a:ext cx="7993063" cy="5040313"/>
          </a:xfrm>
        </p:spPr>
        <p:txBody>
          <a:bodyPr/>
          <a:lstStyle/>
          <a:p>
            <a:pPr algn="l" rtl="0" eaLnBrk="1" hangingPunct="1"/>
            <a:r>
              <a:rPr lang="it" b="0" i="0" u="sng" baseline="0">
                <a:cs typeface="Arial" pitchFamily="34" charset="0"/>
              </a:rPr>
              <a:t>Esempi di comportamenti: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Parlare alla gente della sicurezza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Non applicare una procedura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Ispezionare regolarmente gli impianti 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…</a:t>
            </a:r>
          </a:p>
          <a:p>
            <a:pPr algn="l" rtl="0" eaLnBrk="1" hangingPunct="1">
              <a:buFont typeface="Courier New" pitchFamily="49" charset="0"/>
              <a:buChar char="o"/>
            </a:pPr>
            <a:endParaRPr lang="it" altLang="fr-FR" sz="1400" dirty="0" smtClean="0">
              <a:cs typeface="Arial" pitchFamily="34" charset="0"/>
            </a:endParaRPr>
          </a:p>
          <a:p>
            <a:pPr algn="l" rtl="0" eaLnBrk="1" hangingPunct="1"/>
            <a:r>
              <a:rPr lang="it" b="0" i="0" u="sng" baseline="0">
                <a:cs typeface="Arial" pitchFamily="34" charset="0"/>
              </a:rPr>
              <a:t>Esempi di altre "attività" che non sono comportamenti: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Pensare di parlare alla gente della sicurezza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Chiedersi se una procedura è applicabile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Riflettere sulla data della prossima ispezione da compiere</a:t>
            </a:r>
          </a:p>
          <a:p>
            <a:pPr lvl="1" algn="l" rtl="0" eaLnBrk="1" hangingPunct="1"/>
            <a:r>
              <a:rPr lang="it" b="0" i="0" u="none" baseline="0">
                <a:cs typeface="Arial" pitchFamily="34" charset="0"/>
              </a:rPr>
              <a:t>…</a:t>
            </a:r>
            <a:endParaRPr lang="it" altLang="fr-FR" dirty="0" smtClean="0">
              <a:cs typeface="Arial" pitchFamily="34" charset="0"/>
            </a:endParaRPr>
          </a:p>
        </p:txBody>
      </p:sp>
      <p:sp>
        <p:nvSpPr>
          <p:cNvPr id="17411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3A6812D-A10A-470C-B244-9295182252DD}" type="slidenum">
              <a:rPr/>
              <a:pPr/>
              <a:t>5</a:t>
            </a:fld>
            <a:endParaRPr lang="it" altLang="fr-FR"/>
          </a:p>
        </p:txBody>
      </p:sp>
      <p:sp>
        <p:nvSpPr>
          <p:cNvPr id="17413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1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816893" y="5168900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it" sz="2000" b="1" i="0" u="none" baseline="0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 Comportamento = azione osservabile</a:t>
            </a:r>
            <a:r>
              <a:rPr lang="it" sz="2000" b="1" i="0" u="none" baseline="0">
                <a:solidFill>
                  <a:srgbClr val="E20031"/>
                </a:solidFill>
                <a:latin typeface="Arial" charset="0"/>
                <a:ea typeface="Arial" charset="0"/>
                <a:cs typeface="Arial" charset="0"/>
                <a:sym typeface="Symbol" pitchFamily="18" charset="2"/>
              </a:rPr>
              <a:t> </a:t>
            </a:r>
            <a:r>
              <a:rPr lang="i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it" sz="2000" b="1" i="0" u="none" baseline="0">
                <a:solidFill>
                  <a:srgbClr val="A90025"/>
                </a:solidFill>
              </a:rPr>
              <a:t>intenzion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i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it" sz="2000" b="1" i="0" u="none" baseline="0">
                <a:solidFill>
                  <a:srgbClr val="A90025"/>
                </a:solidFill>
              </a:rPr>
              <a:t>opinione</a:t>
            </a:r>
            <a:endParaRPr lang="it" altLang="fr-FR" sz="2000" b="1" dirty="0">
              <a:solidFill>
                <a:srgbClr val="A9002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hangingPunct="1">
              <a:defRPr/>
            </a:pPr>
            <a:r>
              <a:rPr lang="it" b="1" i="0" u="none" baseline="0"/>
              <a:t>Esercizio</a:t>
            </a:r>
            <a:endParaRPr lang="it" dirty="0"/>
          </a:p>
        </p:txBody>
      </p:sp>
      <p:sp>
        <p:nvSpPr>
          <p:cNvPr id="18434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 eaLnBrk="1" hangingPunct="1">
              <a:spcAft>
                <a:spcPts val="1200"/>
              </a:spcAft>
              <a:buFont typeface="Lucida Grande"/>
              <a:buNone/>
            </a:pPr>
            <a:r>
              <a:rPr lang="it" sz="2400" b="1" i="0" u="none" baseline="0">
                <a:solidFill>
                  <a:srgbClr val="404040"/>
                </a:solidFill>
                <a:cs typeface="Arial" pitchFamily="34" charset="0"/>
              </a:rPr>
              <a:t>Comportamento o no?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it" b="0" i="0" u="none" baseline="0">
                <a:cs typeface="Arial" pitchFamily="34" charset="0"/>
              </a:rPr>
              <a:t>Lavorare in altezza senza imbracatura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it" b="0" i="0" u="none" baseline="0">
                <a:cs typeface="Arial" pitchFamily="34" charset="0"/>
              </a:rPr>
              <a:t>Essere stressato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it" b="0" i="0" u="none" baseline="0">
                <a:cs typeface="Arial" pitchFamily="34" charset="0"/>
              </a:rPr>
              <a:t>Realizzare un Safety tour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it" b="0" i="0" u="none" baseline="0">
                <a:cs typeface="Arial" pitchFamily="34" charset="0"/>
              </a:rPr>
              <a:t>Suggerire ad uno dei vostri colleghi di fare un Safety tour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it" b="0" i="0" u="none" baseline="0">
                <a:cs typeface="Arial" pitchFamily="34" charset="0"/>
              </a:rPr>
              <a:t>Convincervi che la sicurezza è la vostra priorità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it" b="0" i="0" u="none" baseline="0">
                <a:cs typeface="Arial" pitchFamily="34" charset="0"/>
              </a:rPr>
              <a:t>Guidare contromano in autostrada</a:t>
            </a:r>
          </a:p>
          <a:p>
            <a:pPr marL="0" indent="0" algn="l" rtl="0" eaLnBrk="1" hangingPunct="1">
              <a:spcBef>
                <a:spcPts val="600"/>
              </a:spcBef>
            </a:pPr>
            <a:endParaRPr lang="it" altLang="fr-FR" dirty="0" smtClean="0">
              <a:cs typeface="Arial" pitchFamily="34" charset="0"/>
            </a:endParaRPr>
          </a:p>
        </p:txBody>
      </p:sp>
      <p:sp>
        <p:nvSpPr>
          <p:cNvPr id="1843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A077FCEB-2FAB-41EF-B401-039C56F3F4B2}" type="slidenum">
              <a:rPr/>
              <a:pPr/>
              <a:t>6</a:t>
            </a:fld>
            <a:endParaRPr lang="it" altLang="fr-FR"/>
          </a:p>
        </p:txBody>
      </p:sp>
      <p:sp>
        <p:nvSpPr>
          <p:cNvPr id="6" name="Rectangle 5"/>
          <p:cNvSpPr/>
          <p:nvPr/>
        </p:nvSpPr>
        <p:spPr>
          <a:xfrm rot="20366507">
            <a:off x="5386182" y="1246445"/>
            <a:ext cx="3438505" cy="156966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l" rtl="0" eaLnBrk="1" hangingPunct="1">
              <a:defRPr/>
            </a:pPr>
            <a:r>
              <a:rPr lang="it" sz="48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Azione?</a:t>
            </a:r>
          </a:p>
          <a:p>
            <a:pPr algn="l" rtl="0" eaLnBrk="1" hangingPunct="1">
              <a:defRPr/>
            </a:pPr>
            <a:r>
              <a:rPr lang="it" sz="48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Osservabile </a:t>
            </a:r>
            <a:r>
              <a:rPr lang="it" sz="36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?</a:t>
            </a:r>
          </a:p>
        </p:txBody>
      </p:sp>
      <p:sp>
        <p:nvSpPr>
          <p:cNvPr id="7" name="Freeform 173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539552" y="2301379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it"/>
          </a:p>
        </p:txBody>
      </p:sp>
      <p:sp>
        <p:nvSpPr>
          <p:cNvPr id="8" name="Freeform 17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39552" y="3813547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it"/>
          </a:p>
        </p:txBody>
      </p:sp>
      <p:sp>
        <p:nvSpPr>
          <p:cNvPr id="9" name="Freeform 172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39552" y="1748267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it"/>
          </a:p>
        </p:txBody>
      </p:sp>
      <p:sp>
        <p:nvSpPr>
          <p:cNvPr id="10" name="Freeform 17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1767" y="2708920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it"/>
          </a:p>
        </p:txBody>
      </p:sp>
      <p:sp>
        <p:nvSpPr>
          <p:cNvPr id="11" name="Freeform 17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21767" y="3212976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it"/>
          </a:p>
        </p:txBody>
      </p:sp>
      <p:sp>
        <p:nvSpPr>
          <p:cNvPr id="12" name="Freeform 172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21767" y="4221088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it"/>
          </a:p>
        </p:txBody>
      </p:sp>
      <p:sp>
        <p:nvSpPr>
          <p:cNvPr id="13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algn="l" rtl="0" eaLnBrk="1" hangingPunct="1"/>
            <a:endParaRPr lang="it" altLang="fr-FR" dirty="0" smtClean="0">
              <a:cs typeface="Arial" pitchFamily="34" charset="0"/>
            </a:endParaRPr>
          </a:p>
          <a:p>
            <a:pPr algn="l" rtl="0" eaLnBrk="1" hangingPunct="1"/>
            <a:endParaRPr lang="it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it" b="0" i="0" u="none" baseline="0">
                <a:cs typeface="Arial" pitchFamily="34" charset="0"/>
              </a:rPr>
              <a:t>Sensazione generale che evitare gli incidenti è innato</a:t>
            </a:r>
          </a:p>
          <a:p>
            <a:pPr algn="l" rtl="0" eaLnBrk="1" hangingPunct="1"/>
            <a:endParaRPr lang="it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it" b="0" i="0" u="none" baseline="0">
                <a:cs typeface="Arial" pitchFamily="34" charset="0"/>
              </a:rPr>
              <a:t>In realtà, comportarsi in sicurezza non è né logico, né naturale</a:t>
            </a:r>
          </a:p>
          <a:p>
            <a:pPr algn="l" rtl="0" eaLnBrk="1" hangingPunct="1"/>
            <a:endParaRPr lang="it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it" b="0" i="0" u="none" baseline="0">
                <a:cs typeface="Arial" pitchFamily="34" charset="0"/>
              </a:rPr>
              <a:t>Comportarsi in sicurezza è una cosa che si impara</a:t>
            </a:r>
          </a:p>
          <a:p>
            <a:pPr algn="l" rtl="0" eaLnBrk="1" hangingPunct="1"/>
            <a:endParaRPr lang="it" altLang="fr-FR" dirty="0" smtClean="0">
              <a:cs typeface="Arial" pitchFamily="34" charset="0"/>
            </a:endParaRPr>
          </a:p>
          <a:p>
            <a:pPr algn="ctr" rtl="0" eaLnBrk="1" hangingPunct="1">
              <a:buFont typeface="Lucida Grande"/>
              <a:buNone/>
            </a:pPr>
            <a:endParaRPr lang="it" altLang="fr-FR" b="1" dirty="0" smtClean="0">
              <a:solidFill>
                <a:srgbClr val="A90025"/>
              </a:solidFill>
              <a:cs typeface="Arial" pitchFamily="34" charset="0"/>
            </a:endParaRPr>
          </a:p>
          <a:p>
            <a:pPr algn="l" rtl="0" eaLnBrk="1" hangingPunct="1"/>
            <a:endParaRPr lang="it" altLang="fr-FR" dirty="0" smtClean="0">
              <a:cs typeface="Arial" pitchFamily="34" charset="0"/>
            </a:endParaRPr>
          </a:p>
        </p:txBody>
      </p:sp>
      <p:sp>
        <p:nvSpPr>
          <p:cNvPr id="19458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4AC712C-06CC-4052-AF11-65B028D9D197}" type="slidenum">
              <a:rPr/>
              <a:pPr/>
              <a:t>7</a:t>
            </a:fld>
            <a:endParaRPr lang="it" altLang="fr-FR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6" y="4603194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2000" b="1" i="0" u="none" baseline="0">
                <a:solidFill>
                  <a:srgbClr val="A90025"/>
                </a:solidFill>
              </a:rPr>
              <a:t>Conoscere le regole e applicarl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it" b="0" i="0" u="none" baseline="0"/>
              <a:t>Adottare il corretto comportamento sicurezza </a:t>
            </a:r>
            <a:endParaRPr lang="it" dirty="0"/>
          </a:p>
        </p:txBody>
      </p:sp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it" b="0" i="0" u="none" baseline="0"/>
              <a:t>Adottare il corretto comportamento sicurezza 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980728"/>
            <a:ext cx="8218800" cy="5256584"/>
          </a:xfrm>
        </p:spPr>
        <p:txBody>
          <a:bodyPr/>
          <a:lstStyle/>
          <a:p>
            <a:pPr algn="l" rtl="0" eaLnBrk="1" hangingPunct="1">
              <a:buNone/>
            </a:pPr>
            <a:r>
              <a:rPr lang="it" b="0" i="0" u="none" baseline="0">
                <a:cs typeface="Arial" pitchFamily="34" charset="0"/>
              </a:rPr>
              <a:t>Esempio:</a:t>
            </a:r>
          </a:p>
          <a:p>
            <a:pPr algn="l" rtl="0" eaLnBrk="1" hangingPunct="1">
              <a:buNone/>
            </a:pPr>
            <a:endParaRPr lang="it" altLang="fr-FR" dirty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i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it" altLang="fr-FR" dirty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i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i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i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it" altLang="fr-FR" dirty="0">
              <a:cs typeface="Arial" pitchFamily="34" charset="0"/>
            </a:endParaRPr>
          </a:p>
          <a:p>
            <a:pPr algn="l" rtl="0" eaLnBrk="1" hangingPunct="1">
              <a:spcBef>
                <a:spcPts val="1200"/>
              </a:spcBef>
            </a:pPr>
            <a:r>
              <a:rPr lang="it" b="0" i="0" u="none" baseline="0">
                <a:cs typeface="Arial" pitchFamily="34" charset="0"/>
              </a:rPr>
              <a:t>Tutti i conducenti sanno che ci si ferma ad un semaforo rosso</a:t>
            </a:r>
          </a:p>
          <a:p>
            <a:pPr algn="l" rtl="0" eaLnBrk="1" hangingPunct="1">
              <a:spcBef>
                <a:spcPts val="1200"/>
              </a:spcBef>
            </a:pPr>
            <a:r>
              <a:rPr lang="it" b="0" i="0" u="none" baseline="0">
                <a:cs typeface="Arial" pitchFamily="34" charset="0"/>
              </a:rPr>
              <a:t>Non è né logico né naturale fermarsi su una linea diritta senza circolazione quando c'è una luce rossa</a:t>
            </a:r>
          </a:p>
          <a:p>
            <a:pPr algn="l" rtl="0" eaLnBrk="1" hangingPunct="1">
              <a:spcBef>
                <a:spcPts val="1200"/>
              </a:spcBef>
            </a:pPr>
            <a:r>
              <a:rPr lang="it" b="0" i="0" u="none" baseline="0">
                <a:cs typeface="Arial" pitchFamily="34" charset="0"/>
              </a:rPr>
              <a:t>Tuttavia, abbiamo appreso che occorre fermarsi</a:t>
            </a:r>
          </a:p>
          <a:p>
            <a:endParaRPr lang="i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8</a:t>
            </a:fld>
            <a:endParaRPr lang="it" altLang="fr-FR"/>
          </a:p>
        </p:txBody>
      </p:sp>
      <p:pic>
        <p:nvPicPr>
          <p:cNvPr id="7" name="Image 6" descr="Image1 copi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760" y="1124744"/>
            <a:ext cx="4032448" cy="2451728"/>
          </a:xfrm>
          <a:prstGeom prst="rect">
            <a:avLst/>
          </a:prstGeom>
        </p:spPr>
      </p:pic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91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re 1"/>
          <p:cNvSpPr>
            <a:spLocks noGrp="1"/>
          </p:cNvSpPr>
          <p:nvPr>
            <p:ph type="title"/>
          </p:nvPr>
        </p:nvSpPr>
        <p:spPr bwMode="auto"/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eaLnBrk="1" hangingPunct="1"/>
            <a:r>
              <a:rPr lang="it" b="1" i="0" u="none" cap="none" baseline="0">
                <a:cs typeface="Arial" pitchFamily="34" charset="0"/>
              </a:rPr>
              <a:t>TRATTAMENTO DEI COMPORTAMENTI CORRETTI</a:t>
            </a:r>
          </a:p>
        </p:txBody>
      </p:sp>
      <p:sp>
        <p:nvSpPr>
          <p:cNvPr id="2048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r>
              <a:rPr lang="it" b="0" i="0" u="none" baseline="0">
                <a:cs typeface="Arial" pitchFamily="34" charset="0"/>
              </a:rPr>
              <a:t>Ci si aspetta dai dipendenti di Total di:</a:t>
            </a:r>
            <a:endParaRPr lang="i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it" altLang="fr-FR" b="1" dirty="0" smtClean="0">
              <a:cs typeface="Arial" pitchFamily="34" charset="0"/>
            </a:endParaRPr>
          </a:p>
          <a:p>
            <a:pPr algn="l" rtl="0"/>
            <a:r>
              <a:rPr lang="it" b="0" i="0" u="none" baseline="0">
                <a:cs typeface="Arial" pitchFamily="34" charset="0"/>
              </a:rPr>
              <a:t>Considerare il rispetto delle regole, l'esemplarità, la reattività,…</a:t>
            </a:r>
          </a:p>
          <a:p>
            <a:pPr lvl="1" algn="l" rtl="0">
              <a:buFont typeface="Wingdings" charset="2"/>
              <a:buChar char="Ø"/>
            </a:pPr>
            <a:r>
              <a:rPr lang="it" b="0" i="0" u="none" baseline="0">
                <a:cs typeface="Arial" pitchFamily="34" charset="0"/>
              </a:rPr>
              <a:t>Incoraggiare nel quotidiano ogni pratica conforme alle regole</a:t>
            </a:r>
          </a:p>
          <a:p>
            <a:pPr lvl="1" algn="l" rtl="0">
              <a:buFont typeface="Wingdings" charset="2"/>
              <a:buChar char="Ø"/>
            </a:pPr>
            <a:endParaRPr lang="it" altLang="fr-FR" dirty="0" smtClean="0">
              <a:cs typeface="Arial" pitchFamily="34" charset="0"/>
            </a:endParaRPr>
          </a:p>
          <a:p>
            <a:pPr marL="271463" indent="-271463" algn="l" rtl="0"/>
            <a:r>
              <a:rPr lang="it" b="0" i="0" u="none" baseline="0">
                <a:cs typeface="Arial" pitchFamily="34" charset="0"/>
              </a:rPr>
              <a:t>Riconoscere un atteggiamento proattivo</a:t>
            </a:r>
          </a:p>
          <a:p>
            <a:pPr lvl="1" algn="l" rtl="0">
              <a:buFont typeface="Wingdings" charset="2"/>
              <a:buChar char="Ø"/>
            </a:pPr>
            <a:r>
              <a:rPr lang="it" b="0" i="0" u="none" baseline="0">
                <a:cs typeface="Arial" pitchFamily="34" charset="0"/>
              </a:rPr>
              <a:t>Incoraggiare gli atteggiamenti proattivi (iniziative, contributo attivo, segnalazione delle difficoltà proponendo soluzioni,…) piuttosto che soltanto i risultati</a:t>
            </a:r>
          </a:p>
          <a:p>
            <a:pPr lvl="1" algn="l" rtl="0">
              <a:buFont typeface="Wingdings" charset="2"/>
              <a:buChar char="Ø"/>
            </a:pPr>
            <a:endParaRPr lang="it" altLang="fr-FR" dirty="0" smtClean="0">
              <a:cs typeface="Arial" pitchFamily="34" charset="0"/>
            </a:endParaRPr>
          </a:p>
          <a:p>
            <a:pPr marL="271463" indent="-271463" algn="l" rtl="0"/>
            <a:r>
              <a:rPr lang="it" b="0" i="0" u="none" baseline="0">
                <a:cs typeface="Arial" pitchFamily="34" charset="0"/>
              </a:rPr>
              <a:t>Promuovere un'azione o un comportamento</a:t>
            </a:r>
          </a:p>
          <a:p>
            <a:pPr lvl="1" algn="l" rtl="0">
              <a:buFont typeface="Wingdings" charset="2"/>
              <a:buChar char="Ø"/>
            </a:pPr>
            <a:r>
              <a:rPr lang="it" b="0" i="0" u="none" baseline="0">
                <a:cs typeface="Arial" pitchFamily="34" charset="0"/>
              </a:rPr>
              <a:t>Premiare le azioni significative, i comportamenti esemplari,…</a:t>
            </a:r>
          </a:p>
          <a:p>
            <a:pPr marL="0" indent="0" algn="l" rtl="0">
              <a:buFont typeface="Wingdings" pitchFamily="2" charset="2"/>
              <a:buChar char="Ø"/>
            </a:pPr>
            <a:endParaRPr lang="it" altLang="fr-FR" sz="1600" dirty="0" smtClean="0">
              <a:cs typeface="Arial" pitchFamily="34" charset="0"/>
            </a:endParaRPr>
          </a:p>
        </p:txBody>
      </p:sp>
      <p:sp>
        <p:nvSpPr>
          <p:cNvPr id="2048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E5E253E-5F0A-4893-9938-A004B9C5954B}" type="slidenum">
              <a:rPr/>
              <a:pPr/>
              <a:t>9</a:t>
            </a:fld>
            <a:endParaRPr lang="it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562890" y="5517232"/>
            <a:ext cx="6007107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it" sz="2000" b="1" i="0" u="none" baseline="0">
                <a:solidFill>
                  <a:srgbClr val="A90025"/>
                </a:solidFill>
              </a:rPr>
              <a:t>Praticare la riconoscenza nel lavoro di tutti i giorni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it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it" sz="900" b="0" i="0" u="none" baseline="0">
                <a:latin typeface="Arial" pitchFamily="34" charset="0"/>
                <a:cs typeface="Arial" pitchFamily="34" charset="0"/>
              </a:rPr>
              <a:t>Kit di inserimento H3SE - TCG 4.1 - Comportamenti (positivi e negativi) – V2</a:t>
            </a:r>
            <a:endParaRPr lang="i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heme/theme1.xml><?xml version="1.0" encoding="utf-8"?>
<a:theme xmlns:a="http://schemas.openxmlformats.org/drawingml/2006/main" name="fr_total_modele_rouge_fonce">
  <a:themeElements>
    <a:clrScheme name="TOTAL CORPO">
      <a:dk1>
        <a:sysClr val="windowText" lastClr="000000"/>
      </a:dk1>
      <a:lt1>
        <a:sysClr val="window" lastClr="FFFFFF"/>
      </a:lt1>
      <a:dk2>
        <a:srgbClr val="707173"/>
      </a:dk2>
      <a:lt2>
        <a:srgbClr val="00A37F"/>
      </a:lt2>
      <a:accent1>
        <a:srgbClr val="4A96CD"/>
      </a:accent1>
      <a:accent2>
        <a:srgbClr val="F39800"/>
      </a:accent2>
      <a:accent3>
        <a:srgbClr val="E20031"/>
      </a:accent3>
      <a:accent4>
        <a:srgbClr val="004494"/>
      </a:accent4>
      <a:accent5>
        <a:srgbClr val="E8561E"/>
      </a:accent5>
      <a:accent6>
        <a:srgbClr val="97B2AD"/>
      </a:accent6>
      <a:hlink>
        <a:srgbClr val="175A99"/>
      </a:hlink>
      <a:folHlink>
        <a:srgbClr val="B12F87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r_total_modele_rouge_fonce</Template>
  <TotalTime>1011</TotalTime>
  <Words>892</Words>
  <Application>Microsoft Office PowerPoint</Application>
  <PresentationFormat>Affichage à l'écran (4:3)</PresentationFormat>
  <Paragraphs>175</Paragraphs>
  <Slides>14</Slides>
  <Notes>7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15" baseType="lpstr">
      <vt:lpstr>fr_total_modele_rouge_fonce</vt:lpstr>
      <vt:lpstr>Comportamenti  (positivi e negativi)</vt:lpstr>
      <vt:lpstr>Gli obiettivi del modulo</vt:lpstr>
      <vt:lpstr>Video feedback</vt:lpstr>
      <vt:lpstr>I 3 pilastri della sicurezza</vt:lpstr>
      <vt:lpstr>Definizione del comportamento</vt:lpstr>
      <vt:lpstr>Esercizio</vt:lpstr>
      <vt:lpstr>Adottare il corretto comportamento sicurezza </vt:lpstr>
      <vt:lpstr>Adottare il corretto comportamento sicurezza </vt:lpstr>
      <vt:lpstr>TRATTAMENTO DEI COMPORTAMENTI CORRETTI</vt:lpstr>
      <vt:lpstr>Trattamento rispetto alle cattive condotte</vt:lpstr>
      <vt:lpstr>Cattiva condotta</vt:lpstr>
      <vt:lpstr>Valutazione della natura della cattiva condotta</vt:lpstr>
      <vt:lpstr>Reazione adeguata alla cattiva condotta</vt:lpstr>
      <vt:lpstr>sintesi</vt:lpstr>
    </vt:vector>
  </TitlesOfParts>
  <Company>TOT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J0039122</dc:creator>
  <cp:lastModifiedBy>Denise Bedouret</cp:lastModifiedBy>
  <cp:revision>93</cp:revision>
  <dcterms:created xsi:type="dcterms:W3CDTF">2015-09-07T13:13:13Z</dcterms:created>
  <dcterms:modified xsi:type="dcterms:W3CDTF">2017-06-08T13:53:20Z</dcterms:modified>
</cp:coreProperties>
</file>